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www.infraware.co.kr/2012/infrawarePen" Target="docProps/infrawarePe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278" r:id="rId2"/>
    <p:sldId id="285" r:id="rId3"/>
    <p:sldId id="286" r:id="rId4"/>
    <p:sldId id="283" r:id="rId5"/>
    <p:sldId id="287" r:id="rId6"/>
    <p:sldId id="288" r:id="rId7"/>
    <p:sldId id="280" r:id="rId8"/>
    <p:sldId id="281" r:id="rId9"/>
    <p:sldId id="289" r:id="rId10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6" userDrawn="1">
          <p15:clr>
            <a:srgbClr val="A4A3A4"/>
          </p15:clr>
        </p15:guide>
        <p15:guide id="2" pos="2265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47" autoAdjust="0"/>
    <p:restoredTop sz="93155" autoAdjust="0"/>
  </p:normalViewPr>
  <p:slideViewPr>
    <p:cSldViewPr>
      <p:cViewPr varScale="1">
        <p:scale>
          <a:sx n="94" d="100"/>
          <a:sy n="94" d="100"/>
        </p:scale>
        <p:origin x="1330" y="7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6"/>
        <p:guide pos="2265"/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4/30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718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7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4/3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1" tIns="47534" rIns="95071" bIns="4753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8"/>
            <a:ext cx="5618480" cy="4189095"/>
          </a:xfrm>
          <a:prstGeom prst="rect">
            <a:avLst/>
          </a:prstGeom>
        </p:spPr>
        <p:txBody>
          <a:bodyPr vert="horz" lIns="95071" tIns="47534" rIns="95071" bIns="4753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7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063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701041" y="4415797"/>
            <a:ext cx="5608321" cy="4183380"/>
          </a:xfrm>
        </p:spPr>
        <p:txBody>
          <a:bodyPr/>
          <a:lstStyle/>
          <a:p>
            <a:endParaRPr lang="en-US" sz="1800" dirty="0"/>
          </a:p>
          <a:p>
            <a:endParaRPr lang="en-US" sz="1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2902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701041" y="4415797"/>
            <a:ext cx="5608321" cy="4183380"/>
          </a:xfrm>
        </p:spPr>
        <p:txBody>
          <a:bodyPr/>
          <a:lstStyle/>
          <a:p>
            <a:endParaRPr lang="en-US" sz="1800" dirty="0"/>
          </a:p>
          <a:p>
            <a:endParaRPr lang="en-US" sz="1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2608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701041" y="4415797"/>
            <a:ext cx="5608321" cy="4183380"/>
          </a:xfrm>
        </p:spPr>
        <p:txBody>
          <a:bodyPr/>
          <a:lstStyle/>
          <a:p>
            <a:endParaRPr lang="en-US" sz="1800" dirty="0"/>
          </a:p>
          <a:p>
            <a:endParaRPr lang="en-US" sz="1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2394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701041" y="4415797"/>
            <a:ext cx="5608321" cy="4183380"/>
          </a:xfrm>
        </p:spPr>
        <p:txBody>
          <a:bodyPr/>
          <a:lstStyle/>
          <a:p>
            <a:endParaRPr lang="en-US" sz="1800" dirty="0"/>
          </a:p>
          <a:p>
            <a:endParaRPr lang="en-US" sz="1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253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4/30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4/30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4/30/20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4/30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chapter nam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187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4/30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4" r:id="rId2"/>
    <p:sldLayoutId id="2147483662" r:id="rId3"/>
    <p:sldLayoutId id="2147483663" r:id="rId4"/>
    <p:sldLayoutId id="2147483673" r:id="rId5"/>
    <p:sldLayoutId id="2147483677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3886200"/>
            <a:ext cx="7391400" cy="466344"/>
          </a:xfrm>
        </p:spPr>
        <p:txBody>
          <a:bodyPr/>
          <a:lstStyle/>
          <a:p>
            <a:r>
              <a:rPr lang="en-US" sz="2400" dirty="0" smtClean="0"/>
              <a:t>General Manager’s Remarks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19200" y="5257800"/>
            <a:ext cx="3352800" cy="762000"/>
          </a:xfrm>
        </p:spPr>
        <p:txBody>
          <a:bodyPr/>
          <a:lstStyle/>
          <a:p>
            <a:r>
              <a:rPr lang="en-US" sz="2000" dirty="0" smtClean="0"/>
              <a:t>April 30, 2018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7315200" cy="457200"/>
          </a:xfrm>
        </p:spPr>
        <p:txBody>
          <a:bodyPr/>
          <a:lstStyle/>
          <a:p>
            <a:r>
              <a:rPr lang="en-US" sz="2000" dirty="0" smtClean="0"/>
              <a:t>Fiscal and Management Control Board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79922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genda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752600"/>
            <a:ext cx="8348472" cy="443849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Customer Communications Up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SL3-Chelse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RIDE</a:t>
            </a:r>
          </a:p>
        </p:txBody>
      </p:sp>
    </p:spTree>
    <p:extLst>
      <p:ext uri="{BB962C8B-B14F-4D97-AF65-F5344CB8AC3E}">
        <p14:creationId xmlns:p14="http://schemas.microsoft.com/office/powerpoint/2010/main" val="1052630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914400"/>
            <a:ext cx="7751547" cy="466344"/>
          </a:xfrm>
        </p:spPr>
        <p:txBody>
          <a:bodyPr/>
          <a:lstStyle/>
          <a:p>
            <a:r>
              <a:rPr lang="en-US" sz="2400" dirty="0" smtClean="0"/>
              <a:t>Customer Communications Update</a:t>
            </a:r>
            <a:endParaRPr lang="en-US" sz="240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57200" y="381000"/>
            <a:ext cx="7309716" cy="228600"/>
          </a:xfrm>
        </p:spPr>
        <p:txBody>
          <a:bodyPr/>
          <a:lstStyle/>
          <a:p>
            <a:r>
              <a:rPr lang="en-US" sz="1400" dirty="0" smtClean="0"/>
              <a:t>GM’s Remarks 4/20/18</a:t>
            </a: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0" y="1533144"/>
            <a:ext cx="449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Blip>
                <a:blip r:embed="rId3"/>
              </a:buBlip>
            </a:pPr>
            <a:endParaRPr lang="en-US" b="1" u="sng" dirty="0" smtClean="0"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2400" y="1447800"/>
            <a:ext cx="5257800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ervice delays: shifting away from range of minutes to estimated maximum number of minu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Further reduces subjectivity found in range and “minor,” “moderate,” “severe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Customers can make more informed deci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Calibri" pitchFamily="34" charset="0"/>
            </a:endParaRPr>
          </a:p>
          <a:p>
            <a:pPr marL="342900" indent="-342900"/>
            <a:endParaRPr lang="en-US" b="1" dirty="0" smtClean="0">
              <a:latin typeface="+mj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528" y="3733800"/>
            <a:ext cx="3808879" cy="19621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3535" y="2934116"/>
            <a:ext cx="3810000" cy="27618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35462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914400"/>
            <a:ext cx="7751547" cy="466344"/>
          </a:xfrm>
        </p:spPr>
        <p:txBody>
          <a:bodyPr/>
          <a:lstStyle/>
          <a:p>
            <a:r>
              <a:rPr lang="en-US" sz="2400" dirty="0" smtClean="0"/>
              <a:t>Customer Communications Update</a:t>
            </a:r>
            <a:endParaRPr lang="en-US" sz="240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57200" y="381000"/>
            <a:ext cx="7309716" cy="228600"/>
          </a:xfrm>
        </p:spPr>
        <p:txBody>
          <a:bodyPr/>
          <a:lstStyle/>
          <a:p>
            <a:r>
              <a:rPr lang="en-US" sz="1400" dirty="0" smtClean="0"/>
              <a:t>GM’s Remarks 4/20/18</a:t>
            </a: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0" y="1533144"/>
            <a:ext cx="449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Blip>
                <a:blip r:embed="rId3"/>
              </a:buBlip>
            </a:pPr>
            <a:endParaRPr lang="en-US" b="1" u="sng" dirty="0" smtClean="0"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2400" y="1447800"/>
            <a:ext cx="65532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Mirroring practice of Transit Ambassadors, now CSAs have tabl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Effective way to answer common questions, provide directions, directly connect with Customer Support team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Provides increased customer value, especially for visitors and infrequent us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Calibri" pitchFamily="34" charset="0"/>
            </a:endParaRPr>
          </a:p>
          <a:p>
            <a:pPr marL="342900" indent="-342900"/>
            <a:endParaRPr lang="en-US" b="1" dirty="0" smtClean="0">
              <a:latin typeface="+mj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1726" y="3429000"/>
            <a:ext cx="2743200" cy="18288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3200" y="1546191"/>
            <a:ext cx="2157663" cy="14509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3" descr="image00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963" y="3429000"/>
            <a:ext cx="2648030" cy="17023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image00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8209" y="3429000"/>
            <a:ext cx="2527300" cy="24257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1964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914400"/>
            <a:ext cx="7751547" cy="466344"/>
          </a:xfrm>
        </p:spPr>
        <p:txBody>
          <a:bodyPr/>
          <a:lstStyle/>
          <a:p>
            <a:r>
              <a:rPr lang="en-US" sz="2400" dirty="0" smtClean="0"/>
              <a:t>Customer Communications Update</a:t>
            </a:r>
            <a:endParaRPr lang="en-US" sz="240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57200" y="381000"/>
            <a:ext cx="7309716" cy="228600"/>
          </a:xfrm>
        </p:spPr>
        <p:txBody>
          <a:bodyPr/>
          <a:lstStyle/>
          <a:p>
            <a:r>
              <a:rPr lang="en-US" sz="1400" dirty="0" smtClean="0"/>
              <a:t>GM’s Remarks 4/20/18</a:t>
            </a: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0" y="1533144"/>
            <a:ext cx="449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Blip>
                <a:blip r:embed="rId3"/>
              </a:buBlip>
            </a:pPr>
            <a:endParaRPr lang="en-US" b="1" u="sng" dirty="0" smtClean="0"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2400" y="1447800"/>
            <a:ext cx="4857750" cy="49244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Working group identified need for a new training program for customer communications for all of our vehicle operato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o far close to 300 operators completed prog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Training educates all train and bus operators on announcements that have customer value by providing important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Training also discourages use of T jargon not commonly understood by custo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Calibri" pitchFamily="34" charset="0"/>
            </a:endParaRPr>
          </a:p>
          <a:p>
            <a:pPr marL="342900" indent="-342900"/>
            <a:endParaRPr lang="en-US" b="1" dirty="0" smtClean="0">
              <a:latin typeface="+mj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0150" y="2218944"/>
            <a:ext cx="3695700" cy="25205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0440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914400"/>
            <a:ext cx="7751547" cy="466344"/>
          </a:xfrm>
        </p:spPr>
        <p:txBody>
          <a:bodyPr/>
          <a:lstStyle/>
          <a:p>
            <a:r>
              <a:rPr lang="en-US" sz="2400" dirty="0" smtClean="0"/>
              <a:t>Customer Communications Update</a:t>
            </a:r>
            <a:endParaRPr lang="en-US" sz="240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57200" y="381000"/>
            <a:ext cx="7309716" cy="228600"/>
          </a:xfrm>
        </p:spPr>
        <p:txBody>
          <a:bodyPr/>
          <a:lstStyle/>
          <a:p>
            <a:r>
              <a:rPr lang="en-US" sz="1400" dirty="0" smtClean="0"/>
              <a:t>GM’s Remarks 4/20/18</a:t>
            </a: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0" y="1533144"/>
            <a:ext cx="449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Blip>
                <a:blip r:embed="rId3"/>
              </a:buBlip>
            </a:pPr>
            <a:endParaRPr lang="en-US" b="1" u="sng" dirty="0" smtClean="0"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2400" y="1447801"/>
            <a:ext cx="8153400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tarting with Orange Line, pilot asks customers for assistance to identify malfunctioning audio capa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ddition to updating announcement protocols, and investing in employee training, also need to focus on vehicle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equi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ending success, pilot likely to be expanded to other lines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Calibri" pitchFamily="34" charset="0"/>
            </a:endParaRPr>
          </a:p>
          <a:p>
            <a:pPr marL="342900" indent="-342900"/>
            <a:endParaRPr lang="en-US" b="1" dirty="0" smtClean="0">
              <a:latin typeface="+mj-l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0600" y="3124200"/>
            <a:ext cx="7010400" cy="30188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25528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SL3-Chelsea – launched Saturday, April 21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3" y="1514856"/>
            <a:ext cx="5216221" cy="467418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First new service on dedicated ROW since Greenbush in 2007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Offers customers new option of one-seat ride between Chelsea downtown Bost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SL3 runs along 1.2 mile dedicated busway in Chelsea, Coughlin Bypass Road in East Boston before joining existing SL routes to waterfront and South S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9258" y="4318086"/>
            <a:ext cx="2438400" cy="18714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1200" y="1447800"/>
            <a:ext cx="2771775" cy="35578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26978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SL3-Chelsea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3" y="1514856"/>
            <a:ext cx="5216221" cy="467418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Thank you to MassDOT Highway Divi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Highway District 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Major improvement for our custo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Significant milestone for cooperation between two agen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New opportunities for:</a:t>
            </a:r>
          </a:p>
          <a:p>
            <a:pPr marL="685800" lvl="1" indent="-285750"/>
            <a:r>
              <a:rPr lang="en-US" sz="2000" dirty="0" smtClean="0">
                <a:solidFill>
                  <a:schemeClr val="tx1"/>
                </a:solidFill>
              </a:rPr>
              <a:t>Mobility</a:t>
            </a:r>
          </a:p>
          <a:p>
            <a:pPr marL="685800" lvl="1" indent="-285750"/>
            <a:r>
              <a:rPr lang="en-US" sz="2000" dirty="0" smtClean="0">
                <a:solidFill>
                  <a:schemeClr val="tx1"/>
                </a:solidFill>
              </a:rPr>
              <a:t>Housing</a:t>
            </a:r>
          </a:p>
          <a:p>
            <a:pPr marL="685800" lvl="1" indent="-285750"/>
            <a:r>
              <a:rPr lang="en-US" sz="2000" dirty="0" smtClean="0">
                <a:solidFill>
                  <a:schemeClr val="tx1"/>
                </a:solidFill>
              </a:rPr>
              <a:t>Job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9800" y="1447800"/>
            <a:ext cx="2566215" cy="32101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3800" y="3200400"/>
            <a:ext cx="2057898" cy="28392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05617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RIDE Updat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3" y="1514856"/>
            <a:ext cx="7751549" cy="461337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Transition process started in December 2017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New procurement based on lessons learned and helpful insight from RIDE advoc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Ultimate goal is to deliver a reliable service on which our most vulnerable customers can depe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1113" y="3657600"/>
            <a:ext cx="3214687" cy="22465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07024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cmpd="tri">
          <a:solidFill>
            <a:schemeClr val="tx1"/>
          </a:solidFill>
          <a:headEnd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42</TotalTime>
  <Pages>5</Pages>
  <Words>341</Words>
  <Characters>0</Characters>
  <Application>Microsoft Office PowerPoint</Application>
  <DocSecurity>0</DocSecurity>
  <PresentationFormat>On-screen Show (4:3)</PresentationFormat>
  <Lines>0</Lines>
  <Paragraphs>58</Paragraphs>
  <Slides>9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Arial</vt:lpstr>
      <vt:lpstr>Calibri</vt:lpstr>
      <vt:lpstr>Verdana</vt:lpstr>
      <vt:lpstr>Presentation3</vt:lpstr>
      <vt:lpstr>General Manager’s Remarks</vt:lpstr>
      <vt:lpstr>Agenda </vt:lpstr>
      <vt:lpstr>Customer Communications Update</vt:lpstr>
      <vt:lpstr>Customer Communications Update</vt:lpstr>
      <vt:lpstr>Customer Communications Update</vt:lpstr>
      <vt:lpstr>Customer Communications Update</vt:lpstr>
      <vt:lpstr>SL3-Chelsea – launched Saturday, April 21 </vt:lpstr>
      <vt:lpstr>SL3-Chelsea</vt:lpstr>
      <vt:lpstr>RIDE Update</vt:lpstr>
    </vt:vector>
  </TitlesOfParts>
  <LinksUpToDate>false</LinksUpToDate>
  <CharactersWithSpaces>0</CharactersWithSpaces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Cotter, Nancy</cp:lastModifiedBy>
  <cp:revision>714</cp:revision>
  <cp:lastPrinted>2017-04-24T15:15:13Z</cp:lastPrinted>
  <dcterms:modified xsi:type="dcterms:W3CDTF">2018-04-30T15:27:42Z</dcterms:modified>
</cp:coreProperties>
</file>

<file path=docProps/infrawarePen.xml><?xml version="1.0" encoding="utf-8"?>
<InfrawarePenDraw xmlns="http://www.infraware.co.kr/2012/penmode"/>
</file>